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9"/>
  </p:notesMasterIdLst>
  <p:sldIdLst>
    <p:sldId id="256" r:id="rId2"/>
    <p:sldId id="273" r:id="rId3"/>
    <p:sldId id="282" r:id="rId4"/>
    <p:sldId id="286" r:id="rId5"/>
    <p:sldId id="294" r:id="rId6"/>
    <p:sldId id="264" r:id="rId7"/>
    <p:sldId id="263" r:id="rId8"/>
    <p:sldId id="283" r:id="rId9"/>
    <p:sldId id="284" r:id="rId10"/>
    <p:sldId id="285" r:id="rId11"/>
    <p:sldId id="287" r:id="rId12"/>
    <p:sldId id="288" r:id="rId13"/>
    <p:sldId id="289" r:id="rId14"/>
    <p:sldId id="290" r:id="rId15"/>
    <p:sldId id="291" r:id="rId16"/>
    <p:sldId id="292" r:id="rId17"/>
    <p:sldId id="281" r:id="rId18"/>
  </p:sldIdLst>
  <p:sldSz cx="12192000" cy="6858000"/>
  <p:notesSz cx="6858000" cy="9144000"/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199" autoAdjust="0"/>
  </p:normalViewPr>
  <p:slideViewPr>
    <p:cSldViewPr snapToGrid="0">
      <p:cViewPr varScale="1">
        <p:scale>
          <a:sx n="67" d="100"/>
          <a:sy n="67" d="100"/>
        </p:scale>
        <p:origin x="620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69583D2-D4C4-4EF5-A547-A8CC692E4D7C}" type="datetimeFigureOut">
              <a:rPr lang="it-IT" smtClean="0"/>
              <a:t>10/12/2020</a:t>
            </a:fld>
            <a:endParaRPr lang="it-IT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EC5CC16-2F78-44C8-B362-45C30C88F778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4876614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260626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8F7DFC1E-8779-45ED-8412-06ECA348FFC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173FF4DB-1AC5-4C44-8E05-B0C4BAE65BC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AD53F7AE-733E-455D-A16B-41AB1CF2B2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7D9D51-36CE-4047-ACE6-632CF1126598}" type="datetimeFigureOut">
              <a:rPr lang="en-US" smtClean="0"/>
              <a:t>12/10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0933F2CC-7E37-4506-BC9D-F62AA1A238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C4798941-3073-44C0-8E04-C8DBAE844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C35054-0D1E-4C73-A650-57DACA3CC0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811104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4D88359-9D43-4AA3-A44E-F9EB1BDA69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0D3FDBA8-DF15-459B-85E3-85548B6CF80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1B11E720-3876-4444-A481-6F144A5771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7D9D51-36CE-4047-ACE6-632CF1126598}" type="datetimeFigureOut">
              <a:rPr lang="en-US" smtClean="0"/>
              <a:t>12/10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09E0567F-974E-4AF2-BF30-EDD1971C23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60144A91-18C9-4870-9132-ED7D34BE3E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C35054-0D1E-4C73-A650-57DACA3CC0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558006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xmlns="" id="{A49F3A06-7C63-469F-A65A-2BE7CD3816C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2B1147B1-44E1-4278-8E7E-C2306585F93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C7D3AB77-91E2-44D9-9044-C88F44C987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7D9D51-36CE-4047-ACE6-632CF1126598}" type="datetimeFigureOut">
              <a:rPr lang="en-US" smtClean="0"/>
              <a:t>12/10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8633CD7A-C3B5-4909-8F88-ADCACFA73B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9996C081-5418-4E1E-B9BD-10154ACAC0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C35054-0D1E-4C73-A650-57DACA3CC0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720681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1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9" name="Freeform 7"/>
          <p:cNvSpPr>
            <a:spLocks/>
          </p:cNvSpPr>
          <p:nvPr userDrawn="1"/>
        </p:nvSpPr>
        <p:spPr bwMode="auto">
          <a:xfrm>
            <a:off x="5137150" y="0"/>
            <a:ext cx="7054850" cy="6854825"/>
          </a:xfrm>
          <a:custGeom>
            <a:avLst/>
            <a:gdLst/>
            <a:ahLst/>
            <a:cxnLst>
              <a:cxn ang="0">
                <a:pos x="4444" y="0"/>
              </a:cxn>
              <a:cxn ang="0">
                <a:pos x="4444" y="32"/>
              </a:cxn>
              <a:cxn ang="0">
                <a:pos x="4444" y="4292"/>
              </a:cxn>
              <a:cxn ang="0">
                <a:pos x="4440" y="4306"/>
              </a:cxn>
              <a:cxn ang="0">
                <a:pos x="4426" y="4314"/>
              </a:cxn>
              <a:cxn ang="0">
                <a:pos x="4326" y="4318"/>
              </a:cxn>
              <a:cxn ang="0">
                <a:pos x="4228" y="4310"/>
              </a:cxn>
              <a:cxn ang="0">
                <a:pos x="4076" y="4282"/>
              </a:cxn>
              <a:cxn ang="0">
                <a:pos x="3928" y="4240"/>
              </a:cxn>
              <a:cxn ang="0">
                <a:pos x="3740" y="4170"/>
              </a:cxn>
              <a:cxn ang="0">
                <a:pos x="3474" y="4042"/>
              </a:cxn>
              <a:cxn ang="0">
                <a:pos x="3216" y="3896"/>
              </a:cxn>
              <a:cxn ang="0">
                <a:pos x="3024" y="3772"/>
              </a:cxn>
              <a:cxn ang="0">
                <a:pos x="2704" y="3544"/>
              </a:cxn>
              <a:cxn ang="0">
                <a:pos x="2396" y="3300"/>
              </a:cxn>
              <a:cxn ang="0">
                <a:pos x="2180" y="3116"/>
              </a:cxn>
              <a:cxn ang="0">
                <a:pos x="2256" y="2964"/>
              </a:cxn>
              <a:cxn ang="0">
                <a:pos x="2286" y="2890"/>
              </a:cxn>
              <a:cxn ang="0">
                <a:pos x="2322" y="2774"/>
              </a:cxn>
              <a:cxn ang="0">
                <a:pos x="2338" y="2654"/>
              </a:cxn>
              <a:cxn ang="0">
                <a:pos x="2336" y="2562"/>
              </a:cxn>
              <a:cxn ang="0">
                <a:pos x="2306" y="2432"/>
              </a:cxn>
              <a:cxn ang="0">
                <a:pos x="2242" y="2310"/>
              </a:cxn>
              <a:cxn ang="0">
                <a:pos x="2188" y="2238"/>
              </a:cxn>
              <a:cxn ang="0">
                <a:pos x="2092" y="2144"/>
              </a:cxn>
              <a:cxn ang="0">
                <a:pos x="1986" y="2062"/>
              </a:cxn>
              <a:cxn ang="0">
                <a:pos x="1878" y="1990"/>
              </a:cxn>
              <a:cxn ang="0">
                <a:pos x="1712" y="1894"/>
              </a:cxn>
              <a:cxn ang="0">
                <a:pos x="1538" y="1808"/>
              </a:cxn>
              <a:cxn ang="0">
                <a:pos x="1156" y="1640"/>
              </a:cxn>
              <a:cxn ang="0">
                <a:pos x="710" y="1446"/>
              </a:cxn>
              <a:cxn ang="0">
                <a:pos x="524" y="1350"/>
              </a:cxn>
              <a:cxn ang="0">
                <a:pos x="354" y="1230"/>
              </a:cxn>
              <a:cxn ang="0">
                <a:pos x="262" y="1144"/>
              </a:cxn>
              <a:cxn ang="0">
                <a:pos x="158" y="1020"/>
              </a:cxn>
              <a:cxn ang="0">
                <a:pos x="80" y="884"/>
              </a:cxn>
              <a:cxn ang="0">
                <a:pos x="28" y="740"/>
              </a:cxn>
              <a:cxn ang="0">
                <a:pos x="2" y="584"/>
              </a:cxn>
              <a:cxn ang="0">
                <a:pos x="4" y="418"/>
              </a:cxn>
              <a:cxn ang="0">
                <a:pos x="18" y="314"/>
              </a:cxn>
              <a:cxn ang="0">
                <a:pos x="58" y="162"/>
              </a:cxn>
              <a:cxn ang="0">
                <a:pos x="118" y="16"/>
              </a:cxn>
              <a:cxn ang="0">
                <a:pos x="122" y="0"/>
              </a:cxn>
            </a:cxnLst>
            <a:rect l="0" t="0" r="r" b="b"/>
            <a:pathLst>
              <a:path w="4444" h="4318">
                <a:moveTo>
                  <a:pt x="122" y="0"/>
                </a:moveTo>
                <a:lnTo>
                  <a:pt x="122" y="0"/>
                </a:lnTo>
                <a:lnTo>
                  <a:pt x="4444" y="0"/>
                </a:lnTo>
                <a:lnTo>
                  <a:pt x="4444" y="0"/>
                </a:lnTo>
                <a:lnTo>
                  <a:pt x="4444" y="32"/>
                </a:lnTo>
                <a:lnTo>
                  <a:pt x="4444" y="32"/>
                </a:lnTo>
                <a:lnTo>
                  <a:pt x="4444" y="4272"/>
                </a:lnTo>
                <a:lnTo>
                  <a:pt x="4444" y="4272"/>
                </a:lnTo>
                <a:lnTo>
                  <a:pt x="4444" y="4292"/>
                </a:lnTo>
                <a:lnTo>
                  <a:pt x="4444" y="4292"/>
                </a:lnTo>
                <a:lnTo>
                  <a:pt x="4444" y="4300"/>
                </a:lnTo>
                <a:lnTo>
                  <a:pt x="4440" y="4306"/>
                </a:lnTo>
                <a:lnTo>
                  <a:pt x="4436" y="4310"/>
                </a:lnTo>
                <a:lnTo>
                  <a:pt x="4426" y="4314"/>
                </a:lnTo>
                <a:lnTo>
                  <a:pt x="4426" y="4314"/>
                </a:lnTo>
                <a:lnTo>
                  <a:pt x="4402" y="4316"/>
                </a:lnTo>
                <a:lnTo>
                  <a:pt x="4376" y="4318"/>
                </a:lnTo>
                <a:lnTo>
                  <a:pt x="4326" y="4318"/>
                </a:lnTo>
                <a:lnTo>
                  <a:pt x="4278" y="4316"/>
                </a:lnTo>
                <a:lnTo>
                  <a:pt x="4228" y="4310"/>
                </a:lnTo>
                <a:lnTo>
                  <a:pt x="4228" y="4310"/>
                </a:lnTo>
                <a:lnTo>
                  <a:pt x="4176" y="4302"/>
                </a:lnTo>
                <a:lnTo>
                  <a:pt x="4126" y="4294"/>
                </a:lnTo>
                <a:lnTo>
                  <a:pt x="4076" y="4282"/>
                </a:lnTo>
                <a:lnTo>
                  <a:pt x="4026" y="4270"/>
                </a:lnTo>
                <a:lnTo>
                  <a:pt x="3978" y="4256"/>
                </a:lnTo>
                <a:lnTo>
                  <a:pt x="3928" y="4240"/>
                </a:lnTo>
                <a:lnTo>
                  <a:pt x="3832" y="4206"/>
                </a:lnTo>
                <a:lnTo>
                  <a:pt x="3832" y="4206"/>
                </a:lnTo>
                <a:lnTo>
                  <a:pt x="3740" y="4170"/>
                </a:lnTo>
                <a:lnTo>
                  <a:pt x="3650" y="4130"/>
                </a:lnTo>
                <a:lnTo>
                  <a:pt x="3562" y="4088"/>
                </a:lnTo>
                <a:lnTo>
                  <a:pt x="3474" y="4042"/>
                </a:lnTo>
                <a:lnTo>
                  <a:pt x="3386" y="3996"/>
                </a:lnTo>
                <a:lnTo>
                  <a:pt x="3302" y="3946"/>
                </a:lnTo>
                <a:lnTo>
                  <a:pt x="3216" y="3896"/>
                </a:lnTo>
                <a:lnTo>
                  <a:pt x="3134" y="3844"/>
                </a:lnTo>
                <a:lnTo>
                  <a:pt x="3134" y="3844"/>
                </a:lnTo>
                <a:lnTo>
                  <a:pt x="3024" y="3772"/>
                </a:lnTo>
                <a:lnTo>
                  <a:pt x="2916" y="3698"/>
                </a:lnTo>
                <a:lnTo>
                  <a:pt x="2808" y="3622"/>
                </a:lnTo>
                <a:lnTo>
                  <a:pt x="2704" y="3544"/>
                </a:lnTo>
                <a:lnTo>
                  <a:pt x="2600" y="3464"/>
                </a:lnTo>
                <a:lnTo>
                  <a:pt x="2498" y="3382"/>
                </a:lnTo>
                <a:lnTo>
                  <a:pt x="2396" y="3300"/>
                </a:lnTo>
                <a:lnTo>
                  <a:pt x="2296" y="3214"/>
                </a:lnTo>
                <a:lnTo>
                  <a:pt x="2296" y="3214"/>
                </a:lnTo>
                <a:lnTo>
                  <a:pt x="2180" y="3116"/>
                </a:lnTo>
                <a:lnTo>
                  <a:pt x="2180" y="3116"/>
                </a:lnTo>
                <a:lnTo>
                  <a:pt x="2220" y="3040"/>
                </a:lnTo>
                <a:lnTo>
                  <a:pt x="2256" y="2964"/>
                </a:lnTo>
                <a:lnTo>
                  <a:pt x="2256" y="2964"/>
                </a:lnTo>
                <a:lnTo>
                  <a:pt x="2272" y="2928"/>
                </a:lnTo>
                <a:lnTo>
                  <a:pt x="2286" y="2890"/>
                </a:lnTo>
                <a:lnTo>
                  <a:pt x="2300" y="2852"/>
                </a:lnTo>
                <a:lnTo>
                  <a:pt x="2312" y="2814"/>
                </a:lnTo>
                <a:lnTo>
                  <a:pt x="2322" y="2774"/>
                </a:lnTo>
                <a:lnTo>
                  <a:pt x="2330" y="2736"/>
                </a:lnTo>
                <a:lnTo>
                  <a:pt x="2334" y="2696"/>
                </a:lnTo>
                <a:lnTo>
                  <a:pt x="2338" y="2654"/>
                </a:lnTo>
                <a:lnTo>
                  <a:pt x="2338" y="2654"/>
                </a:lnTo>
                <a:lnTo>
                  <a:pt x="2340" y="2608"/>
                </a:lnTo>
                <a:lnTo>
                  <a:pt x="2336" y="2562"/>
                </a:lnTo>
                <a:lnTo>
                  <a:pt x="2330" y="2518"/>
                </a:lnTo>
                <a:lnTo>
                  <a:pt x="2320" y="2474"/>
                </a:lnTo>
                <a:lnTo>
                  <a:pt x="2306" y="2432"/>
                </a:lnTo>
                <a:lnTo>
                  <a:pt x="2288" y="2390"/>
                </a:lnTo>
                <a:lnTo>
                  <a:pt x="2266" y="2350"/>
                </a:lnTo>
                <a:lnTo>
                  <a:pt x="2242" y="2310"/>
                </a:lnTo>
                <a:lnTo>
                  <a:pt x="2242" y="2310"/>
                </a:lnTo>
                <a:lnTo>
                  <a:pt x="2216" y="2274"/>
                </a:lnTo>
                <a:lnTo>
                  <a:pt x="2188" y="2238"/>
                </a:lnTo>
                <a:lnTo>
                  <a:pt x="2158" y="2206"/>
                </a:lnTo>
                <a:lnTo>
                  <a:pt x="2126" y="2174"/>
                </a:lnTo>
                <a:lnTo>
                  <a:pt x="2092" y="2144"/>
                </a:lnTo>
                <a:lnTo>
                  <a:pt x="2058" y="2116"/>
                </a:lnTo>
                <a:lnTo>
                  <a:pt x="2022" y="2088"/>
                </a:lnTo>
                <a:lnTo>
                  <a:pt x="1986" y="2062"/>
                </a:lnTo>
                <a:lnTo>
                  <a:pt x="1986" y="2062"/>
                </a:lnTo>
                <a:lnTo>
                  <a:pt x="1932" y="2024"/>
                </a:lnTo>
                <a:lnTo>
                  <a:pt x="1878" y="1990"/>
                </a:lnTo>
                <a:lnTo>
                  <a:pt x="1824" y="1956"/>
                </a:lnTo>
                <a:lnTo>
                  <a:pt x="1768" y="1924"/>
                </a:lnTo>
                <a:lnTo>
                  <a:pt x="1712" y="1894"/>
                </a:lnTo>
                <a:lnTo>
                  <a:pt x="1654" y="1864"/>
                </a:lnTo>
                <a:lnTo>
                  <a:pt x="1596" y="1836"/>
                </a:lnTo>
                <a:lnTo>
                  <a:pt x="1538" y="1808"/>
                </a:lnTo>
                <a:lnTo>
                  <a:pt x="1538" y="1808"/>
                </a:lnTo>
                <a:lnTo>
                  <a:pt x="1346" y="1724"/>
                </a:lnTo>
                <a:lnTo>
                  <a:pt x="1156" y="1640"/>
                </a:lnTo>
                <a:lnTo>
                  <a:pt x="774" y="1474"/>
                </a:lnTo>
                <a:lnTo>
                  <a:pt x="774" y="1474"/>
                </a:lnTo>
                <a:lnTo>
                  <a:pt x="710" y="1446"/>
                </a:lnTo>
                <a:lnTo>
                  <a:pt x="646" y="1416"/>
                </a:lnTo>
                <a:lnTo>
                  <a:pt x="584" y="1384"/>
                </a:lnTo>
                <a:lnTo>
                  <a:pt x="524" y="1350"/>
                </a:lnTo>
                <a:lnTo>
                  <a:pt x="466" y="1312"/>
                </a:lnTo>
                <a:lnTo>
                  <a:pt x="410" y="1272"/>
                </a:lnTo>
                <a:lnTo>
                  <a:pt x="354" y="1230"/>
                </a:lnTo>
                <a:lnTo>
                  <a:pt x="302" y="1184"/>
                </a:lnTo>
                <a:lnTo>
                  <a:pt x="302" y="1184"/>
                </a:lnTo>
                <a:lnTo>
                  <a:pt x="262" y="1144"/>
                </a:lnTo>
                <a:lnTo>
                  <a:pt x="224" y="1104"/>
                </a:lnTo>
                <a:lnTo>
                  <a:pt x="188" y="1062"/>
                </a:lnTo>
                <a:lnTo>
                  <a:pt x="158" y="1020"/>
                </a:lnTo>
                <a:lnTo>
                  <a:pt x="128" y="976"/>
                </a:lnTo>
                <a:lnTo>
                  <a:pt x="102" y="930"/>
                </a:lnTo>
                <a:lnTo>
                  <a:pt x="80" y="884"/>
                </a:lnTo>
                <a:lnTo>
                  <a:pt x="58" y="838"/>
                </a:lnTo>
                <a:lnTo>
                  <a:pt x="42" y="790"/>
                </a:lnTo>
                <a:lnTo>
                  <a:pt x="28" y="740"/>
                </a:lnTo>
                <a:lnTo>
                  <a:pt x="16" y="688"/>
                </a:lnTo>
                <a:lnTo>
                  <a:pt x="8" y="636"/>
                </a:lnTo>
                <a:lnTo>
                  <a:pt x="2" y="584"/>
                </a:lnTo>
                <a:lnTo>
                  <a:pt x="0" y="530"/>
                </a:lnTo>
                <a:lnTo>
                  <a:pt x="0" y="474"/>
                </a:lnTo>
                <a:lnTo>
                  <a:pt x="4" y="418"/>
                </a:lnTo>
                <a:lnTo>
                  <a:pt x="4" y="418"/>
                </a:lnTo>
                <a:lnTo>
                  <a:pt x="10" y="366"/>
                </a:lnTo>
                <a:lnTo>
                  <a:pt x="18" y="314"/>
                </a:lnTo>
                <a:lnTo>
                  <a:pt x="30" y="262"/>
                </a:lnTo>
                <a:lnTo>
                  <a:pt x="42" y="212"/>
                </a:lnTo>
                <a:lnTo>
                  <a:pt x="58" y="162"/>
                </a:lnTo>
                <a:lnTo>
                  <a:pt x="76" y="112"/>
                </a:lnTo>
                <a:lnTo>
                  <a:pt x="94" y="64"/>
                </a:lnTo>
                <a:lnTo>
                  <a:pt x="118" y="16"/>
                </a:lnTo>
                <a:lnTo>
                  <a:pt x="118" y="16"/>
                </a:lnTo>
                <a:lnTo>
                  <a:pt x="122" y="0"/>
                </a:lnTo>
                <a:lnTo>
                  <a:pt x="122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1358153"/>
            <a:ext cx="4774258" cy="14751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defRPr lang="en-US" sz="2600" b="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2976180"/>
            <a:ext cx="4774257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grpSp>
        <p:nvGrpSpPr>
          <p:cNvPr id="13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4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5766110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757B869-389A-4DAA-8B52-B65735072D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18904B7D-84C3-414C-9AAB-6C19E4929CB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B18BCF56-4C18-4F49-ACA9-F977574211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7D9D51-36CE-4047-ACE6-632CF1126598}" type="datetimeFigureOut">
              <a:rPr lang="en-US" smtClean="0"/>
              <a:t>12/10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B30EB61A-BA2D-4E19-9E8C-D422924CEB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1D77B698-1F3D-4A34-9731-3CE7EC533C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C35054-0D1E-4C73-A650-57DACA3CC0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19149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EFE7E1C7-7A33-4E69-8402-688D36AA33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EDE49427-5352-4FDE-B62F-4604030775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3C04A050-8286-4A8E-80BD-69BBE112BA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7D9D51-36CE-4047-ACE6-632CF1126598}" type="datetimeFigureOut">
              <a:rPr lang="en-US" smtClean="0"/>
              <a:t>12/10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A9561A6F-22A7-472D-85DC-01B9258AED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B75B675D-62E5-4A8D-8DE4-C30AC479F2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C35054-0D1E-4C73-A650-57DACA3CC0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46298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D8FABD0-047C-4886-88F4-6595FD4F2C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08B8DDFC-A8A4-4C1A-A220-74BE8AC267B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9D764F61-58C7-4346-81A7-EF08F87EDD8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374283A1-28C4-4BF0-9B98-EC5778A3E0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7D9D51-36CE-4047-ACE6-632CF1126598}" type="datetimeFigureOut">
              <a:rPr lang="en-US" smtClean="0"/>
              <a:t>12/10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C90BD690-3EFF-4FDC-BEC4-09DC5F4854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B2BA03E5-9C8B-4004-B6C8-E63C77DF95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C35054-0D1E-4C73-A650-57DACA3CC0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51522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BA8335D5-7A35-4C19-BE1C-E3E9A98E72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3F89C617-A096-4535-BCF8-04B8AE16236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5DA795A4-0D6A-421B-A9A8-A6B170086FD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3B92DA25-6157-4B0F-8B9F-21278526AEF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54ACD60F-5C4C-4779-B4FB-7A33A4E062B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3FA15C48-82CF-4065-BC00-AA5760B812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7D9D51-36CE-4047-ACE6-632CF1126598}" type="datetimeFigureOut">
              <a:rPr lang="en-US" smtClean="0"/>
              <a:t>12/10/2020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E2ACF4A3-6FEB-4B85-95AB-89FD0D219A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4CDFE368-EA8E-47AA-AAEF-C683317C22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C35054-0D1E-4C73-A650-57DACA3CC0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3311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BD26E82D-04C8-49DF-9B6B-2B57CFD1C7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460AB56A-3E72-4652-91BE-E7D486981C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7D9D51-36CE-4047-ACE6-632CF1126598}" type="datetimeFigureOut">
              <a:rPr lang="en-US" smtClean="0"/>
              <a:t>12/10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9D9024BF-0C30-4BE2-9930-EA8C9DF063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57B4BA01-6FD4-4694-9911-1575BFD987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C35054-0D1E-4C73-A650-57DACA3CC0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44274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B9DD1DB2-E254-4ED9-BF18-52233F0FDB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7D9D51-36CE-4047-ACE6-632CF1126598}" type="datetimeFigureOut">
              <a:rPr lang="en-US" smtClean="0"/>
              <a:t>12/10/20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C43E2B1F-768F-407E-A044-94183C5547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8891C9BE-05FF-4A7C-BE04-6EFAF8CB6A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C35054-0D1E-4C73-A650-57DACA3CC0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79877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7ADC808A-CC41-4765-AE69-9D00563ABC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135E2DBC-9A1C-4CB6-B2E3-A2142B2CCF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C3D39167-62F4-42F6-B320-47AC1573C0D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4E69CBA8-096D-4D91-BCCE-944F8AC5AF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7D9D51-36CE-4047-ACE6-632CF1126598}" type="datetimeFigureOut">
              <a:rPr lang="en-US" smtClean="0"/>
              <a:t>12/10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21CA34B6-0CEA-45BD-983D-622B11CA99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BD3B7FB7-5E3E-45A1-A6AF-66B6E1EE02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C35054-0D1E-4C73-A650-57DACA3CC0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18553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ADE4358-32A2-4D43-9A95-62CE04B8EA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xmlns="" id="{ACE3ABEE-7B3C-4831-8099-5E6EB5E998A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C1A9F2B5-13FD-4BCE-A62A-21063B9187F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C9800925-23A5-4A62-919E-10564EBB11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7D9D51-36CE-4047-ACE6-632CF1126598}" type="datetimeFigureOut">
              <a:rPr lang="en-US" smtClean="0"/>
              <a:t>12/10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E9FD3AD6-B70E-4D9B-A137-0F6C8AC25F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5F908079-C39A-4B62-B962-E733CB69A6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C35054-0D1E-4C73-A650-57DACA3CC0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11720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30362DC5-5225-4467-93D1-E87D69CEC9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2429AC50-0871-4C59-9F2C-091B5769A34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CC13B058-D3C5-4D38-B0D3-085474600BA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57D9D51-36CE-4047-ACE6-632CF1126598}" type="datetimeFigureOut">
              <a:rPr lang="en-US" smtClean="0"/>
              <a:t>12/10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6890954B-AF2A-4516-9ABC-D1457E57959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704A4BA3-8794-43DF-AAE4-2311B5665B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AC35054-0D1E-4C73-A650-57DACA3CC0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26634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xmlns="" id="{36284FDF-A617-4724-A7C5-FD18EE1F01DD}"/>
              </a:ext>
            </a:extLst>
          </p:cNvPr>
          <p:cNvSpPr txBox="1">
            <a:spLocks/>
          </p:cNvSpPr>
          <p:nvPr/>
        </p:nvSpPr>
        <p:spPr>
          <a:xfrm>
            <a:off x="417003" y="2420888"/>
            <a:ext cx="5688012" cy="720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dirty="0" smtClean="0"/>
              <a:t>UNHCR</a:t>
            </a:r>
          </a:p>
          <a:p>
            <a:r>
              <a:rPr lang="it-IT" sz="2000" dirty="0"/>
              <a:t>Einstein Implementation Walkthrough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xmlns="" id="{34AC82C0-0F99-495F-A046-8AFB5E1179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822652"/>
          </a:xfrm>
          <a:solidFill>
            <a:schemeClr val="accent2">
              <a:lumMod val="75000"/>
            </a:schemeClr>
          </a:solidFill>
        </p:spPr>
        <p:txBody>
          <a:bodyPr>
            <a:normAutofit/>
          </a:bodyPr>
          <a:lstStyle/>
          <a:p>
            <a:r>
              <a:rPr lang="it-IT" sz="3600" dirty="0" smtClean="0"/>
              <a:t>Dasboard Approach                                        -Pg2</a:t>
            </a:r>
            <a:endParaRPr lang="it-IT" sz="3600" dirty="0"/>
          </a:p>
        </p:txBody>
      </p:sp>
      <p:graphicFrame>
        <p:nvGraphicFramePr>
          <p:cNvPr id="2" name="Table 1"/>
          <p:cNvGraphicFramePr>
            <a:graphicFrameLocks noGrp="1"/>
          </p:cNvGraphicFramePr>
          <p:nvPr/>
        </p:nvGraphicFramePr>
        <p:xfrm>
          <a:off x="1054100" y="1531144"/>
          <a:ext cx="8413750" cy="833582"/>
        </p:xfrm>
        <a:graphic>
          <a:graphicData uri="http://schemas.openxmlformats.org/drawingml/2006/table">
            <a:tbl>
              <a:tblPr/>
              <a:tblGrid>
                <a:gridCol w="4644792"/>
                <a:gridCol w="3768958"/>
              </a:tblGrid>
              <a:tr h="121934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llenge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cision</a:t>
                      </a:r>
                    </a:p>
                  </a:txBody>
                  <a:tcPr marL="6350" marR="6350" marT="635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613872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ach </a:t>
                      </a: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shboard can have only 20 Pages. 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/>
                      </a:r>
                      <a:b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 would need 30 pages</a:t>
                      </a:r>
                      <a:r>
                        <a:rPr lang="en-US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in dashboard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ve 2 separate </a:t>
                      </a: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shboard organized based on categorie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199" y="2586539"/>
            <a:ext cx="10946553" cy="38047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965180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xmlns="" id="{34AC82C0-0F99-495F-A046-8AFB5E1179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990429"/>
          </a:xfrm>
          <a:solidFill>
            <a:schemeClr val="accent1"/>
          </a:solidFill>
        </p:spPr>
        <p:txBody>
          <a:bodyPr/>
          <a:lstStyle/>
          <a:p>
            <a:r>
              <a:rPr lang="it-IT" dirty="0" smtClean="0"/>
              <a:t>Dataflow Approach					Page 1</a:t>
            </a:r>
            <a:endParaRPr lang="it-IT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6384960"/>
              </p:ext>
            </p:extLst>
          </p:nvPr>
        </p:nvGraphicFramePr>
        <p:xfrm>
          <a:off x="1054100" y="1531144"/>
          <a:ext cx="10071100" cy="1292860"/>
        </p:xfrm>
        <a:graphic>
          <a:graphicData uri="http://schemas.openxmlformats.org/drawingml/2006/table">
            <a:tbl>
              <a:tblPr/>
              <a:tblGrid>
                <a:gridCol w="5559729"/>
                <a:gridCol w="4511371"/>
              </a:tblGrid>
              <a:tr h="178460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llenge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cision</a:t>
                      </a:r>
                    </a:p>
                  </a:txBody>
                  <a:tcPr marL="6350" marR="6350" marT="635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871671">
                <a:tc>
                  <a:txBody>
                    <a:bodyPr/>
                    <a:lstStyle/>
                    <a:p>
                      <a:pPr marL="342900" indent="-342900" algn="l" fontAlgn="t">
                        <a:buAutoNum type="arabicParenR"/>
                      </a:pP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xclude Contacts based on child entity criteria. Create Multiple</a:t>
                      </a:r>
                      <a:r>
                        <a:rPr lang="en-US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Dataflow and use </a:t>
                      </a:r>
                      <a:r>
                        <a:rPr lang="en-US" sz="1400" b="1" i="0" u="none" strike="noStrike" baseline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Update</a:t>
                      </a:r>
                      <a:r>
                        <a:rPr lang="en-US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Step exclude contacts.</a:t>
                      </a:r>
                    </a:p>
                    <a:p>
                      <a:pPr marL="0" indent="0" algn="l" fontAlgn="t">
                        <a:buNone/>
                      </a:pPr>
                      <a:endParaRPr lang="en-US" sz="1400" b="0" i="0" u="none" strike="noStrike" baseline="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l" fontAlgn="t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) Having</a:t>
                      </a:r>
                      <a:r>
                        <a:rPr lang="en-US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ne flow for each will result 30 </a:t>
                      </a:r>
                      <a:r>
                        <a:rPr lang="en-US" sz="14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aflows</a:t>
                      </a:r>
                      <a:r>
                        <a:rPr lang="en-US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but Einstein </a:t>
                      </a:r>
                      <a:r>
                        <a:rPr lang="en-US" sz="14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aflows</a:t>
                      </a:r>
                      <a:r>
                        <a:rPr lang="en-US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executes only Sequentially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1) Group the </a:t>
                      </a:r>
                      <a:r>
                        <a:rPr lang="en-US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aflows</a:t>
                      </a: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for similar </a:t>
                      </a:r>
                      <a:r>
                        <a:rPr lang="en-US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xlcusion</a:t>
                      </a: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riteria</a:t>
                      </a:r>
                    </a:p>
                    <a:p>
                      <a:pPr algn="l" fontAlgn="t"/>
                      <a:endParaRPr lang="en-US" sz="14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l" fontAlgn="t"/>
                      <a:endParaRPr lang="en-US" sz="14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l" fontAlgn="t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) Handle the inclusion on separately</a:t>
                      </a:r>
                      <a:r>
                        <a:rPr lang="en-US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Dashboard querie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1054100" y="2916019"/>
            <a:ext cx="8642350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mmon Exclusion criteria with Parallel flows for Similar Campaign Scenarios</a:t>
            </a:r>
            <a:endParaRPr kumimoji="0" lang="en-US" altLang="en-US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7169" name="Picture 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1124" y="3363009"/>
            <a:ext cx="9972675" cy="33455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8156683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xmlns="" id="{34AC82C0-0F99-495F-A046-8AFB5E1179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990429"/>
          </a:xfrm>
          <a:solidFill>
            <a:schemeClr val="accent1"/>
          </a:solidFill>
        </p:spPr>
        <p:txBody>
          <a:bodyPr/>
          <a:lstStyle/>
          <a:p>
            <a:r>
              <a:rPr lang="it-IT" dirty="0" smtClean="0"/>
              <a:t>Dataflow Approach					Page 2</a:t>
            </a:r>
            <a:endParaRPr lang="it-IT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91904338"/>
              </p:ext>
            </p:extLst>
          </p:nvPr>
        </p:nvGraphicFramePr>
        <p:xfrm>
          <a:off x="1054099" y="1531144"/>
          <a:ext cx="9890125" cy="866140"/>
        </p:xfrm>
        <a:graphic>
          <a:graphicData uri="http://schemas.openxmlformats.org/drawingml/2006/table">
            <a:tbl>
              <a:tblPr/>
              <a:tblGrid>
                <a:gridCol w="4941330"/>
                <a:gridCol w="4948795"/>
              </a:tblGrid>
              <a:tr h="121934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llenge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cision</a:t>
                      </a:r>
                    </a:p>
                  </a:txBody>
                  <a:tcPr marL="6350" marR="6350" marT="635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613872">
                <a:tc>
                  <a:txBody>
                    <a:bodyPr/>
                    <a:lstStyle/>
                    <a:p>
                      <a:pPr marL="342900" indent="-342900" algn="l" fontAlgn="t">
                        <a:buAutoNum type="arabicParenR"/>
                      </a:pP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clude Contacts based on file upload.</a:t>
                      </a:r>
                    </a:p>
                    <a:p>
                      <a:pPr marL="342900" indent="-342900" algn="l" fontAlgn="t">
                        <a:buAutoNum type="arabicParenR"/>
                      </a:pP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oining datasets on Dashboard using Co-group gives Time out issue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1) Use Datasets to upload the csv containing contacts</a:t>
                      </a:r>
                      <a:r>
                        <a:rPr lang="en-US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to filter</a:t>
                      </a:r>
                      <a:endParaRPr lang="en-US" sz="14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l" fontAlgn="t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) Use Filter criteria in Dataflow.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1285875" y="2572874"/>
            <a:ext cx="7810500" cy="6155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6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pload Contacts via csv and Filter them in.</a:t>
            </a:r>
            <a:endParaRPr kumimoji="0" lang="en-US" altLang="en-US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11265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1100" y="3086100"/>
            <a:ext cx="10061666" cy="3009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9183283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xmlns="" id="{34AC82C0-0F99-495F-A046-8AFB5E1179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990429"/>
          </a:xfrm>
          <a:solidFill>
            <a:schemeClr val="accent1"/>
          </a:solidFill>
        </p:spPr>
        <p:txBody>
          <a:bodyPr/>
          <a:lstStyle/>
          <a:p>
            <a:r>
              <a:rPr lang="it-IT" dirty="0" smtClean="0"/>
              <a:t>Dataflow Approach					Page 3</a:t>
            </a:r>
            <a:endParaRPr lang="it-IT" dirty="0"/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838200" y="1505635"/>
            <a:ext cx="6553200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xclusion criteria that has subset criteria</a:t>
            </a:r>
            <a:endParaRPr kumimoji="0" lang="en-US" altLang="en-US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1228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1549" y="2000251"/>
            <a:ext cx="9972675" cy="40965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7081009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xmlns="" id="{34AC82C0-0F99-495F-A046-8AFB5E1179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990429"/>
          </a:xfrm>
          <a:solidFill>
            <a:schemeClr val="accent1"/>
          </a:solidFill>
        </p:spPr>
        <p:txBody>
          <a:bodyPr/>
          <a:lstStyle/>
          <a:p>
            <a:r>
              <a:rPr lang="it-IT" dirty="0" smtClean="0"/>
              <a:t>Dataflow Approach					Page 4</a:t>
            </a:r>
            <a:endParaRPr lang="it-IT" dirty="0"/>
          </a:p>
        </p:txBody>
      </p: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1162050" y="1541887"/>
            <a:ext cx="8305800" cy="8002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mbination of 1 and 2</a:t>
            </a:r>
            <a:endParaRPr kumimoji="0" lang="en-US" altLang="en-US" sz="2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7" name="Picture 6"/>
          <p:cNvPicPr/>
          <p:nvPr/>
        </p:nvPicPr>
        <p:blipFill>
          <a:blip r:embed="rId2"/>
          <a:stretch>
            <a:fillRect/>
          </a:stretch>
        </p:blipFill>
        <p:spPr>
          <a:xfrm>
            <a:off x="1162050" y="2832416"/>
            <a:ext cx="9658350" cy="26349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026936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xmlns="" id="{34AC82C0-0F99-495F-A046-8AFB5E1179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990429"/>
          </a:xfrm>
          <a:solidFill>
            <a:schemeClr val="accent1"/>
          </a:solidFill>
        </p:spPr>
        <p:txBody>
          <a:bodyPr/>
          <a:lstStyle/>
          <a:p>
            <a:r>
              <a:rPr lang="it-IT" dirty="0" smtClean="0"/>
              <a:t>Dataflow Approach					Page 5</a:t>
            </a:r>
            <a:endParaRPr lang="it-IT" dirty="0"/>
          </a:p>
        </p:txBody>
      </p: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1162050" y="1541887"/>
            <a:ext cx="8305800" cy="8002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mbination of 1 and 3</a:t>
            </a:r>
            <a:endParaRPr kumimoji="0" lang="en-US" altLang="en-US" sz="2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13313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6824" y="2105024"/>
            <a:ext cx="10201276" cy="4200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3381462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xmlns="" id="{34AC82C0-0F99-495F-A046-8AFB5E1179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990429"/>
          </a:xfrm>
          <a:solidFill>
            <a:schemeClr val="accent1"/>
          </a:solidFill>
        </p:spPr>
        <p:txBody>
          <a:bodyPr/>
          <a:lstStyle/>
          <a:p>
            <a:r>
              <a:rPr lang="it-IT" dirty="0" smtClean="0"/>
              <a:t>Dataflow Approach					Page 6</a:t>
            </a:r>
            <a:endParaRPr lang="it-IT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2722892"/>
              </p:ext>
            </p:extLst>
          </p:nvPr>
        </p:nvGraphicFramePr>
        <p:xfrm>
          <a:off x="1054099" y="1531144"/>
          <a:ext cx="9890125" cy="866140"/>
        </p:xfrm>
        <a:graphic>
          <a:graphicData uri="http://schemas.openxmlformats.org/drawingml/2006/table">
            <a:tbl>
              <a:tblPr/>
              <a:tblGrid>
                <a:gridCol w="4941330"/>
                <a:gridCol w="4948795"/>
              </a:tblGrid>
              <a:tr h="121934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llenge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cision</a:t>
                      </a:r>
                    </a:p>
                  </a:txBody>
                  <a:tcPr marL="6350" marR="6350" marT="635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613872">
                <a:tc>
                  <a:txBody>
                    <a:bodyPr/>
                    <a:lstStyle/>
                    <a:p>
                      <a:pPr marL="342900" indent="-342900" algn="l" fontAlgn="t">
                        <a:buAutoNum type="arabicParenR"/>
                      </a:pP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xclude Contacts based on file upload.</a:t>
                      </a:r>
                    </a:p>
                    <a:p>
                      <a:pPr marL="342900" indent="-342900" algn="l" fontAlgn="t">
                        <a:buAutoNum type="arabicParenR"/>
                      </a:pP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oining datasets on Dashboard using Co-group gives Time out issue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1) Use Datasets to upload the csv containing contacts</a:t>
                      </a:r>
                      <a:r>
                        <a:rPr lang="en-US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to filter</a:t>
                      </a:r>
                      <a:endParaRPr lang="en-US" sz="14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l" fontAlgn="t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) Use Filter criteria in Dataflow to exclude.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1285875" y="2572874"/>
            <a:ext cx="7810500" cy="6155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6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pload Contacts via csv and Filter them out.</a:t>
            </a:r>
            <a:endParaRPr kumimoji="0" lang="en-US" altLang="en-US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6" name="Picture 5"/>
          <p:cNvPicPr/>
          <p:nvPr/>
        </p:nvPicPr>
        <p:blipFill>
          <a:blip r:embed="rId2"/>
          <a:stretch>
            <a:fillRect/>
          </a:stretch>
        </p:blipFill>
        <p:spPr>
          <a:xfrm>
            <a:off x="1285875" y="3188427"/>
            <a:ext cx="8181975" cy="309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777546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757EAFB-4FA2-4EAC-93A9-675B97908E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6800" y="2822576"/>
            <a:ext cx="10515600" cy="822652"/>
          </a:xfrm>
          <a:solidFill>
            <a:schemeClr val="accent3">
              <a:lumMod val="75000"/>
            </a:schemeClr>
          </a:solidFill>
        </p:spPr>
        <p:txBody>
          <a:bodyPr>
            <a:normAutofit/>
          </a:bodyPr>
          <a:lstStyle/>
          <a:p>
            <a:pPr algn="ctr"/>
            <a:r>
              <a:rPr lang="it-IT" sz="3600" dirty="0" smtClean="0"/>
              <a:t>Thank You</a:t>
            </a:r>
            <a:endParaRPr lang="it-IT" sz="3600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A7114D0F-34A9-424E-9477-740284A5D83B}"/>
              </a:ext>
            </a:extLst>
          </p:cNvPr>
          <p:cNvSpPr/>
          <p:nvPr/>
        </p:nvSpPr>
        <p:spPr>
          <a:xfrm>
            <a:off x="3048000" y="-2572643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it-IT" dirty="0">
                <a:latin typeface="Courier New" panose="02070309020205020404" pitchFamily="49" charset="0"/>
              </a:rPr>
              <a:t>%j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96284430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xmlns="" id="{34AC82C0-0F99-495F-A046-8AFB5E1179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822652"/>
          </a:xfrm>
          <a:solidFill>
            <a:schemeClr val="accent2">
              <a:lumMod val="75000"/>
            </a:schemeClr>
          </a:solidFill>
        </p:spPr>
        <p:txBody>
          <a:bodyPr>
            <a:normAutofit/>
          </a:bodyPr>
          <a:lstStyle/>
          <a:p>
            <a:r>
              <a:rPr lang="it-IT" sz="3600" dirty="0" smtClean="0"/>
              <a:t>Requirement overview</a:t>
            </a:r>
            <a:endParaRPr lang="it-IT" sz="3600" dirty="0"/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5259245"/>
              </p:ext>
            </p:extLst>
          </p:nvPr>
        </p:nvGraphicFramePr>
        <p:xfrm>
          <a:off x="1257298" y="1820066"/>
          <a:ext cx="10096502" cy="4590261"/>
        </p:xfrm>
        <a:graphic>
          <a:graphicData uri="http://schemas.openxmlformats.org/drawingml/2006/table">
            <a:tbl>
              <a:tblPr/>
              <a:tblGrid>
                <a:gridCol w="4983028"/>
                <a:gridCol w="2739361"/>
                <a:gridCol w="2374113"/>
              </a:tblGrid>
              <a:tr h="457449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eps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57449">
                <a:tc rowSpan="4">
                  <a:txBody>
                    <a:bodyPr/>
                    <a:lstStyle/>
                    <a:p>
                      <a:pPr algn="l" fontAlgn="t"/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xport Entities from Salesforce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tact (Main Entiity)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45744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ty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5744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nations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5744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ses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57449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14896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lter Contacts based on different campaign critera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</a:t>
                      </a:r>
                      <a:r>
                        <a:rPr lang="en-US" sz="2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cenarios</a:t>
                      </a:r>
                      <a:r>
                        <a:rPr lang="en-US" sz="2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each has 8-15 criteria)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57449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73222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wnload in Excel.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ing Share option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3431931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xmlns="" id="{34AC82C0-0F99-495F-A046-8AFB5E1179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822652"/>
          </a:xfrm>
          <a:solidFill>
            <a:schemeClr val="accent2">
              <a:lumMod val="75000"/>
            </a:schemeClr>
          </a:solidFill>
        </p:spPr>
        <p:txBody>
          <a:bodyPr>
            <a:normAutofit/>
          </a:bodyPr>
          <a:lstStyle/>
          <a:p>
            <a:r>
              <a:rPr lang="it-IT" sz="3600" dirty="0" smtClean="0"/>
              <a:t>Entity Objects data storage</a:t>
            </a:r>
            <a:endParaRPr lang="it-IT" sz="36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801139"/>
            <a:ext cx="12192000" cy="4665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117644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xmlns="" id="{34AC82C0-0F99-495F-A046-8AFB5E1179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822652"/>
          </a:xfrm>
          <a:solidFill>
            <a:schemeClr val="accent2">
              <a:lumMod val="75000"/>
            </a:schemeClr>
          </a:solidFill>
        </p:spPr>
        <p:txBody>
          <a:bodyPr>
            <a:normAutofit/>
          </a:bodyPr>
          <a:lstStyle/>
          <a:p>
            <a:r>
              <a:rPr lang="it-IT" sz="3600" dirty="0" smtClean="0"/>
              <a:t>Design Diagram</a:t>
            </a:r>
            <a:endParaRPr lang="it-IT" sz="3600" dirty="0"/>
          </a:p>
        </p:txBody>
      </p:sp>
      <p:sp>
        <p:nvSpPr>
          <p:cNvPr id="2" name="Rounded Rectangle 1"/>
          <p:cNvSpPr/>
          <p:nvPr/>
        </p:nvSpPr>
        <p:spPr>
          <a:xfrm>
            <a:off x="4191000" y="1285875"/>
            <a:ext cx="2638425" cy="4191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UNHCR Salesforce NSP</a:t>
            </a:r>
            <a:endParaRPr lang="en-US" dirty="0"/>
          </a:p>
        </p:txBody>
      </p:sp>
      <p:sp>
        <p:nvSpPr>
          <p:cNvPr id="4" name="Down Arrow 3"/>
          <p:cNvSpPr/>
          <p:nvPr/>
        </p:nvSpPr>
        <p:spPr>
          <a:xfrm>
            <a:off x="5205412" y="1760929"/>
            <a:ext cx="185738" cy="344096"/>
          </a:xfrm>
          <a:prstGeom prst="downArrow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5510212" y="1661250"/>
            <a:ext cx="17954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Incremental Sync</a:t>
            </a:r>
            <a:endParaRPr lang="en-US" dirty="0"/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92866111"/>
              </p:ext>
            </p:extLst>
          </p:nvPr>
        </p:nvGraphicFramePr>
        <p:xfrm>
          <a:off x="1712912" y="2157852"/>
          <a:ext cx="7594600" cy="482600"/>
        </p:xfrm>
        <a:graphic>
          <a:graphicData uri="http://schemas.openxmlformats.org/drawingml/2006/table">
            <a:tbl>
              <a:tblPr/>
              <a:tblGrid>
                <a:gridCol w="635000"/>
                <a:gridCol w="1181100"/>
                <a:gridCol w="749300"/>
                <a:gridCol w="749300"/>
                <a:gridCol w="660400"/>
                <a:gridCol w="660400"/>
                <a:gridCol w="774700"/>
                <a:gridCol w="711200"/>
                <a:gridCol w="812800"/>
                <a:gridCol w="660400"/>
              </a:tblGrid>
              <a:tr h="482600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keting Consent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yment Profile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mpaign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mpaign Member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yment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ccount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nations Allocation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nations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portunity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se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1" name="Down Arrow 10"/>
          <p:cNvSpPr/>
          <p:nvPr/>
        </p:nvSpPr>
        <p:spPr>
          <a:xfrm>
            <a:off x="5205412" y="2695743"/>
            <a:ext cx="185738" cy="257007"/>
          </a:xfrm>
          <a:prstGeom prst="downArrow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ounded Rectangle 12"/>
          <p:cNvSpPr/>
          <p:nvPr/>
        </p:nvSpPr>
        <p:spPr>
          <a:xfrm>
            <a:off x="3933825" y="2951274"/>
            <a:ext cx="2743200" cy="61912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Base Dataflow</a:t>
            </a:r>
          </a:p>
          <a:p>
            <a:pPr algn="ctr"/>
            <a:r>
              <a:rPr lang="en-US" dirty="0"/>
              <a:t>(UNHCR_DF </a:t>
            </a:r>
            <a:r>
              <a:rPr lang="en-US" dirty="0" smtClean="0"/>
              <a:t>– Base)</a:t>
            </a:r>
            <a:endParaRPr lang="en-US" dirty="0"/>
          </a:p>
        </p:txBody>
      </p:sp>
      <p:sp>
        <p:nvSpPr>
          <p:cNvPr id="15" name="Down Arrow 14"/>
          <p:cNvSpPr/>
          <p:nvPr/>
        </p:nvSpPr>
        <p:spPr>
          <a:xfrm>
            <a:off x="5205411" y="3604184"/>
            <a:ext cx="185738" cy="257007"/>
          </a:xfrm>
          <a:prstGeom prst="downArrow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ound Same Side Corner Rectangle 15"/>
          <p:cNvSpPr/>
          <p:nvPr/>
        </p:nvSpPr>
        <p:spPr>
          <a:xfrm rot="16200000">
            <a:off x="3790950" y="2984890"/>
            <a:ext cx="638175" cy="2390775"/>
          </a:xfrm>
          <a:prstGeom prst="round2SameRect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Round Same Side Corner Rectangle 16"/>
          <p:cNvSpPr/>
          <p:nvPr/>
        </p:nvSpPr>
        <p:spPr>
          <a:xfrm rot="5400000">
            <a:off x="6070695" y="3102463"/>
            <a:ext cx="638175" cy="2155632"/>
          </a:xfrm>
          <a:prstGeom prst="round2Same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TextBox 17"/>
          <p:cNvSpPr txBox="1"/>
          <p:nvPr/>
        </p:nvSpPr>
        <p:spPr>
          <a:xfrm>
            <a:off x="5391149" y="3908379"/>
            <a:ext cx="23717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Recurring Donations </a:t>
            </a:r>
          </a:p>
          <a:p>
            <a:r>
              <a:rPr lang="en-US" dirty="0" smtClean="0"/>
              <a:t>(UNHCR-</a:t>
            </a:r>
            <a:r>
              <a:rPr lang="en-US" dirty="0" err="1" smtClean="0"/>
              <a:t>Don_Recipe</a:t>
            </a:r>
            <a:r>
              <a:rPr lang="en-US" dirty="0"/>
              <a:t>) 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3005137" y="3884785"/>
            <a:ext cx="250507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Recipe for Single </a:t>
            </a:r>
            <a:r>
              <a:rPr lang="en-US" dirty="0" err="1" smtClean="0"/>
              <a:t>Opty</a:t>
            </a:r>
            <a:endParaRPr lang="en-US" dirty="0" smtClean="0"/>
          </a:p>
          <a:p>
            <a:r>
              <a:rPr lang="en-US" dirty="0"/>
              <a:t>(</a:t>
            </a:r>
            <a:r>
              <a:rPr lang="en-US" dirty="0" smtClean="0"/>
              <a:t>UNHCR-</a:t>
            </a:r>
            <a:r>
              <a:rPr lang="en-US" dirty="0" err="1" smtClean="0"/>
              <a:t>Opty_Recipe</a:t>
            </a:r>
            <a:r>
              <a:rPr lang="en-US" dirty="0" smtClean="0"/>
              <a:t>) </a:t>
            </a:r>
            <a:endParaRPr lang="en-US" dirty="0"/>
          </a:p>
        </p:txBody>
      </p:sp>
      <p:sp>
        <p:nvSpPr>
          <p:cNvPr id="21" name="Left-Right-Up Arrow 20"/>
          <p:cNvSpPr/>
          <p:nvPr/>
        </p:nvSpPr>
        <p:spPr>
          <a:xfrm>
            <a:off x="3492696" y="5129118"/>
            <a:ext cx="3611168" cy="766574"/>
          </a:xfrm>
          <a:prstGeom prst="leftRight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ounded Rectangle 21"/>
          <p:cNvSpPr/>
          <p:nvPr/>
        </p:nvSpPr>
        <p:spPr>
          <a:xfrm>
            <a:off x="276222" y="4637406"/>
            <a:ext cx="3171828" cy="2146223"/>
          </a:xfrm>
          <a:prstGeom prst="roundRect">
            <a:avLst/>
          </a:prstGeom>
          <a:noFill/>
          <a:ln w="38100"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ounded Rectangle 23"/>
          <p:cNvSpPr/>
          <p:nvPr/>
        </p:nvSpPr>
        <p:spPr>
          <a:xfrm>
            <a:off x="7467599" y="4601898"/>
            <a:ext cx="3171828" cy="2146223"/>
          </a:xfrm>
          <a:prstGeom prst="roundRect">
            <a:avLst/>
          </a:prstGeom>
          <a:noFill/>
          <a:ln w="38100"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xtBox 24"/>
          <p:cNvSpPr txBox="1"/>
          <p:nvPr/>
        </p:nvSpPr>
        <p:spPr>
          <a:xfrm>
            <a:off x="8105773" y="4231544"/>
            <a:ext cx="26098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Dashboard 2</a:t>
            </a:r>
            <a:endParaRPr lang="en-US" dirty="0"/>
          </a:p>
        </p:txBody>
      </p:sp>
      <p:sp>
        <p:nvSpPr>
          <p:cNvPr id="26" name="TextBox 25"/>
          <p:cNvSpPr txBox="1"/>
          <p:nvPr/>
        </p:nvSpPr>
        <p:spPr>
          <a:xfrm>
            <a:off x="957263" y="4236323"/>
            <a:ext cx="26098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Dashboard 1</a:t>
            </a:r>
            <a:endParaRPr lang="en-US" dirty="0"/>
          </a:p>
        </p:txBody>
      </p:sp>
      <p:sp>
        <p:nvSpPr>
          <p:cNvPr id="27" name="TextBox 26"/>
          <p:cNvSpPr txBox="1"/>
          <p:nvPr/>
        </p:nvSpPr>
        <p:spPr>
          <a:xfrm>
            <a:off x="583995" y="5542640"/>
            <a:ext cx="1523407" cy="369332"/>
          </a:xfrm>
          <a:prstGeom prst="rect">
            <a:avLst/>
          </a:prstGeom>
          <a:ln w="9525"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 smtClean="0"/>
              <a:t>Recapturing</a:t>
            </a:r>
            <a:endParaRPr lang="en-US" dirty="0"/>
          </a:p>
        </p:txBody>
      </p:sp>
      <p:sp>
        <p:nvSpPr>
          <p:cNvPr id="28" name="TextBox 27"/>
          <p:cNvSpPr txBox="1"/>
          <p:nvPr/>
        </p:nvSpPr>
        <p:spPr>
          <a:xfrm>
            <a:off x="583996" y="6112514"/>
            <a:ext cx="2350889" cy="369332"/>
          </a:xfrm>
          <a:prstGeom prst="rect">
            <a:avLst/>
          </a:prstGeom>
          <a:ln w="9525"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 smtClean="0"/>
              <a:t>Recapturing 2</a:t>
            </a:r>
            <a:r>
              <a:rPr lang="en-US" baseline="30000" dirty="0" smtClean="0"/>
              <a:t>nd</a:t>
            </a:r>
            <a:r>
              <a:rPr lang="en-US" dirty="0" smtClean="0"/>
              <a:t> Time</a:t>
            </a:r>
            <a:endParaRPr lang="en-US" dirty="0"/>
          </a:p>
        </p:txBody>
      </p:sp>
      <p:sp>
        <p:nvSpPr>
          <p:cNvPr id="29" name="TextBox 28"/>
          <p:cNvSpPr txBox="1"/>
          <p:nvPr/>
        </p:nvSpPr>
        <p:spPr>
          <a:xfrm>
            <a:off x="561376" y="4896606"/>
            <a:ext cx="1546027" cy="369332"/>
          </a:xfrm>
          <a:prstGeom prst="rect">
            <a:avLst/>
          </a:prstGeom>
          <a:ln w="9525"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 smtClean="0"/>
              <a:t>Re-Activation</a:t>
            </a:r>
            <a:endParaRPr lang="en-US" dirty="0"/>
          </a:p>
        </p:txBody>
      </p:sp>
      <p:sp>
        <p:nvSpPr>
          <p:cNvPr id="30" name="Rounded Rectangle 29"/>
          <p:cNvSpPr/>
          <p:nvPr/>
        </p:nvSpPr>
        <p:spPr>
          <a:xfrm>
            <a:off x="2318146" y="4844056"/>
            <a:ext cx="866773" cy="966896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3 Data flow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7842347" y="5220933"/>
            <a:ext cx="1523407" cy="369332"/>
          </a:xfrm>
          <a:prstGeom prst="rect">
            <a:avLst/>
          </a:prstGeom>
          <a:ln w="9525"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 smtClean="0"/>
              <a:t>Upgrade</a:t>
            </a:r>
            <a:endParaRPr lang="en-US" dirty="0"/>
          </a:p>
        </p:txBody>
      </p:sp>
      <p:sp>
        <p:nvSpPr>
          <p:cNvPr id="36" name="TextBox 35"/>
          <p:cNvSpPr txBox="1"/>
          <p:nvPr/>
        </p:nvSpPr>
        <p:spPr>
          <a:xfrm>
            <a:off x="7842347" y="5711026"/>
            <a:ext cx="1523407" cy="369332"/>
          </a:xfrm>
          <a:prstGeom prst="rect">
            <a:avLst/>
          </a:prstGeom>
          <a:ln w="9525"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 smtClean="0"/>
              <a:t>Cross-Sell</a:t>
            </a:r>
            <a:endParaRPr lang="en-US" dirty="0"/>
          </a:p>
        </p:txBody>
      </p:sp>
      <p:sp>
        <p:nvSpPr>
          <p:cNvPr id="37" name="TextBox 36"/>
          <p:cNvSpPr txBox="1"/>
          <p:nvPr/>
        </p:nvSpPr>
        <p:spPr>
          <a:xfrm>
            <a:off x="7819727" y="4759786"/>
            <a:ext cx="1546027" cy="369332"/>
          </a:xfrm>
          <a:prstGeom prst="rect">
            <a:avLst/>
          </a:prstGeom>
          <a:ln w="9525"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 smtClean="0"/>
              <a:t>Retention</a:t>
            </a:r>
            <a:endParaRPr lang="en-US" dirty="0"/>
          </a:p>
        </p:txBody>
      </p:sp>
      <p:sp>
        <p:nvSpPr>
          <p:cNvPr id="38" name="Rounded Rectangle 37"/>
          <p:cNvSpPr/>
          <p:nvPr/>
        </p:nvSpPr>
        <p:spPr>
          <a:xfrm>
            <a:off x="9569204" y="5128897"/>
            <a:ext cx="866773" cy="966896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6 Data flow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7862590" y="6220698"/>
            <a:ext cx="1523407" cy="369332"/>
          </a:xfrm>
          <a:prstGeom prst="rect">
            <a:avLst/>
          </a:prstGeom>
          <a:ln w="9525"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 smtClean="0"/>
              <a:t>Convers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568352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xmlns="" id="{34AC82C0-0F99-495F-A046-8AFB5E1179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822652"/>
          </a:xfrm>
          <a:solidFill>
            <a:schemeClr val="accent2">
              <a:lumMod val="75000"/>
            </a:schemeClr>
          </a:solidFill>
        </p:spPr>
        <p:txBody>
          <a:bodyPr>
            <a:normAutofit/>
          </a:bodyPr>
          <a:lstStyle/>
          <a:p>
            <a:r>
              <a:rPr lang="it-IT" sz="3600" dirty="0" smtClean="0"/>
              <a:t>Entity Objects and their Relation</a:t>
            </a:r>
            <a:endParaRPr lang="it-IT" sz="3600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5203118"/>
              </p:ext>
            </p:extLst>
          </p:nvPr>
        </p:nvGraphicFramePr>
        <p:xfrm>
          <a:off x="838200" y="1412399"/>
          <a:ext cx="10039350" cy="4239180"/>
        </p:xfrm>
        <a:graphic>
          <a:graphicData uri="http://schemas.openxmlformats.org/drawingml/2006/table">
            <a:tbl>
              <a:tblPr/>
              <a:tblGrid>
                <a:gridCol w="4699794"/>
                <a:gridCol w="2583656"/>
                <a:gridCol w="2755900"/>
              </a:tblGrid>
              <a:tr h="39585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bjects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lation with Contact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iteria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95851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keting Consent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: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clusion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95851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yment Profile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"1:1"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clusion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95851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mpaign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"1:1"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clusion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95851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mpaign Member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"1:1"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clusion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95851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yment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: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clusion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95851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ccount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: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clusion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95851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nations Allocation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: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clusion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95851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nations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: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clusion and Exclusion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95851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portunity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: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clusion and Exclusion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se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: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clusion and Exclusion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141609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757EAFB-4FA2-4EAC-93A9-675B97908E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822652"/>
          </a:xfrm>
          <a:solidFill>
            <a:schemeClr val="accent2">
              <a:lumMod val="60000"/>
              <a:lumOff val="40000"/>
            </a:schemeClr>
          </a:solidFill>
        </p:spPr>
        <p:txBody>
          <a:bodyPr>
            <a:normAutofit/>
          </a:bodyPr>
          <a:lstStyle/>
          <a:p>
            <a:r>
              <a:rPr lang="it-IT" sz="3600" dirty="0" smtClean="0"/>
              <a:t>Design Approach Approach</a:t>
            </a:r>
            <a:endParaRPr lang="it-IT" sz="3600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E9D2A24C-CAA0-4915-B0EB-0AF7D27CE1A7}"/>
              </a:ext>
            </a:extLst>
          </p:cNvPr>
          <p:cNvSpPr/>
          <p:nvPr/>
        </p:nvSpPr>
        <p:spPr>
          <a:xfrm>
            <a:off x="838200" y="1158384"/>
            <a:ext cx="105156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dirty="0" smtClean="0"/>
              <a:t>.</a:t>
            </a:r>
            <a:endParaRPr lang="it-IT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A7114D0F-34A9-424E-9477-740284A5D83B}"/>
              </a:ext>
            </a:extLst>
          </p:cNvPr>
          <p:cNvSpPr/>
          <p:nvPr/>
        </p:nvSpPr>
        <p:spPr>
          <a:xfrm>
            <a:off x="3048000" y="-2572643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it-IT" dirty="0">
                <a:latin typeface="Courier New" panose="02070309020205020404" pitchFamily="49" charset="0"/>
              </a:rPr>
              <a:t>%j</a:t>
            </a:r>
            <a:endParaRPr lang="it-IT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3213826"/>
              </p:ext>
            </p:extLst>
          </p:nvPr>
        </p:nvGraphicFramePr>
        <p:xfrm>
          <a:off x="1028699" y="1740692"/>
          <a:ext cx="9096375" cy="4317208"/>
        </p:xfrm>
        <a:graphic>
          <a:graphicData uri="http://schemas.openxmlformats.org/drawingml/2006/table">
            <a:tbl>
              <a:tblPr/>
              <a:tblGrid>
                <a:gridCol w="4258352"/>
                <a:gridCol w="2340979"/>
                <a:gridCol w="2497044"/>
              </a:tblGrid>
              <a:tr h="477859">
                <a:tc>
                  <a:txBody>
                    <a:bodyPr/>
                    <a:lstStyle/>
                    <a:p>
                      <a:pPr algn="l" fontAlgn="t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quirement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instein Capability</a:t>
                      </a:r>
                    </a:p>
                  </a:txBody>
                  <a:tcPr marL="6350" marR="6350" marT="635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ason</a:t>
                      </a:r>
                    </a:p>
                  </a:txBody>
                  <a:tcPr marL="6350" marR="6350" marT="635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</a:tr>
              <a:tr h="1911435">
                <a:tc>
                  <a:txBody>
                    <a:bodyPr/>
                    <a:lstStyle/>
                    <a:p>
                      <a:pPr algn="l" fontAlgn="t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oin Objects for Inclusion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aflow</a:t>
                      </a:r>
                    </a:p>
                  </a:txBody>
                  <a:tcPr marL="6350" marR="6350" marT="635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gment Functionality of Dataflow</a:t>
                      </a:r>
                      <a:b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eation of Multiple Datasets</a:t>
                      </a:r>
                    </a:p>
                  </a:txBody>
                  <a:tcPr marL="6350" marR="6350" marT="635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55718">
                <a:tc>
                  <a:txBody>
                    <a:bodyPr/>
                    <a:lstStyle/>
                    <a:p>
                      <a:pPr algn="l" fontAlgn="t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oin Object for 1:M relation that has exclsuion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cipe</a:t>
                      </a:r>
                    </a:p>
                  </a:txBody>
                  <a:tcPr marL="6350" marR="6350" marT="635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ner Join Functionality of Recipe</a:t>
                      </a:r>
                    </a:p>
                  </a:txBody>
                  <a:tcPr marL="6350" marR="6350" marT="635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72196">
                <a:tc>
                  <a:txBody>
                    <a:bodyPr/>
                    <a:lstStyle/>
                    <a:p>
                      <a:pPr algn="l" fontAlgn="t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ditions with less performance impact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ueries in Dashboard</a:t>
                      </a:r>
                    </a:p>
                  </a:txBody>
                  <a:tcPr marL="6350" marR="6350" marT="635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r Free Filter and easier BA modification</a:t>
                      </a:r>
                    </a:p>
                  </a:txBody>
                  <a:tcPr marL="6350" marR="6350" marT="635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3964748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xmlns="" id="{34AC82C0-0F99-495F-A046-8AFB5E1179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990429"/>
          </a:xfrm>
          <a:solidFill>
            <a:schemeClr val="accent1"/>
          </a:solidFill>
        </p:spPr>
        <p:txBody>
          <a:bodyPr/>
          <a:lstStyle/>
          <a:p>
            <a:r>
              <a:rPr lang="it-IT" dirty="0" smtClean="0"/>
              <a:t>Base Dataflow</a:t>
            </a:r>
            <a:endParaRPr lang="it-IT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2950" y="1671040"/>
            <a:ext cx="10506075" cy="4369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524399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xmlns="" id="{34AC82C0-0F99-495F-A046-8AFB5E1179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822652"/>
          </a:xfrm>
          <a:solidFill>
            <a:schemeClr val="accent2">
              <a:lumMod val="75000"/>
            </a:schemeClr>
          </a:solidFill>
        </p:spPr>
        <p:txBody>
          <a:bodyPr>
            <a:normAutofit/>
          </a:bodyPr>
          <a:lstStyle/>
          <a:p>
            <a:r>
              <a:rPr lang="it-IT" sz="3600" dirty="0" smtClean="0"/>
              <a:t>Recipe Approach</a:t>
            </a:r>
            <a:endParaRPr lang="it-IT" sz="3600" dirty="0"/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41658579"/>
              </p:ext>
            </p:extLst>
          </p:nvPr>
        </p:nvGraphicFramePr>
        <p:xfrm>
          <a:off x="1054100" y="1531144"/>
          <a:ext cx="8413750" cy="866140"/>
        </p:xfrm>
        <a:graphic>
          <a:graphicData uri="http://schemas.openxmlformats.org/drawingml/2006/table">
            <a:tbl>
              <a:tblPr/>
              <a:tblGrid>
                <a:gridCol w="4644792"/>
                <a:gridCol w="3768958"/>
              </a:tblGrid>
              <a:tr h="121934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llenge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cision</a:t>
                      </a:r>
                    </a:p>
                  </a:txBody>
                  <a:tcPr marL="6350" marR="6350" marT="635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613872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ach dataset can have only 20 Billion rows. </a:t>
                      </a:r>
                      <a:b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ut Joining Oportunities with recurring donation increaed the count.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ve 2 separate datasets for Single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ty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and recurring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ties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using 2 Recipes</a:t>
                      </a:r>
                    </a:p>
                  </a:txBody>
                  <a:tcPr marL="6350" marR="6350" marT="635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4100" y="2511585"/>
            <a:ext cx="4843429" cy="395589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34183" y="2511585"/>
            <a:ext cx="4725049" cy="40701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857548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xmlns="" id="{34AC82C0-0F99-495F-A046-8AFB5E1179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822652"/>
          </a:xfrm>
          <a:solidFill>
            <a:schemeClr val="accent2">
              <a:lumMod val="75000"/>
            </a:schemeClr>
          </a:solidFill>
        </p:spPr>
        <p:txBody>
          <a:bodyPr>
            <a:normAutofit/>
          </a:bodyPr>
          <a:lstStyle/>
          <a:p>
            <a:r>
              <a:rPr lang="it-IT" sz="3600" dirty="0" smtClean="0"/>
              <a:t>Dasboard Approach                                        -Pg1</a:t>
            </a:r>
            <a:endParaRPr lang="it-IT" sz="3600" dirty="0"/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50081515"/>
              </p:ext>
            </p:extLst>
          </p:nvPr>
        </p:nvGraphicFramePr>
        <p:xfrm>
          <a:off x="1054100" y="1531144"/>
          <a:ext cx="8413750" cy="833582"/>
        </p:xfrm>
        <a:graphic>
          <a:graphicData uri="http://schemas.openxmlformats.org/drawingml/2006/table">
            <a:tbl>
              <a:tblPr/>
              <a:tblGrid>
                <a:gridCol w="4644792"/>
                <a:gridCol w="3768958"/>
              </a:tblGrid>
              <a:tr h="121934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llenge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cision</a:t>
                      </a:r>
                    </a:p>
                  </a:txBody>
                  <a:tcPr marL="6350" marR="6350" marT="635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613872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ach </a:t>
                      </a: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shboard can have only 20 Pages. 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/>
                      </a:r>
                      <a:b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 would need 30 pages</a:t>
                      </a:r>
                      <a:r>
                        <a:rPr lang="en-US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in dashboard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ve 2 separate </a:t>
                      </a: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shboard organized based on categorie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4100" y="2851832"/>
            <a:ext cx="10060258" cy="3263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0841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917</TotalTime>
  <Words>479</Words>
  <Application>Microsoft Office PowerPoint</Application>
  <PresentationFormat>Widescreen</PresentationFormat>
  <Paragraphs>158</Paragraphs>
  <Slides>17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4" baseType="lpstr">
      <vt:lpstr>Arial</vt:lpstr>
      <vt:lpstr>Calibri</vt:lpstr>
      <vt:lpstr>Calibri Light</vt:lpstr>
      <vt:lpstr>Courier New</vt:lpstr>
      <vt:lpstr>Times New Roman</vt:lpstr>
      <vt:lpstr>Office Theme</vt:lpstr>
      <vt:lpstr>think-cell Slide</vt:lpstr>
      <vt:lpstr>PowerPoint Presentation</vt:lpstr>
      <vt:lpstr>Requirement overview</vt:lpstr>
      <vt:lpstr>Entity Objects data storage</vt:lpstr>
      <vt:lpstr>Design Diagram</vt:lpstr>
      <vt:lpstr>Entity Objects and their Relation</vt:lpstr>
      <vt:lpstr>Design Approach Approach</vt:lpstr>
      <vt:lpstr>Base Dataflow</vt:lpstr>
      <vt:lpstr>Recipe Approach</vt:lpstr>
      <vt:lpstr>Dasboard Approach                                        -Pg1</vt:lpstr>
      <vt:lpstr>Dasboard Approach                                        -Pg2</vt:lpstr>
      <vt:lpstr>Dataflow Approach     Page 1</vt:lpstr>
      <vt:lpstr>Dataflow Approach     Page 2</vt:lpstr>
      <vt:lpstr>Dataflow Approach     Page 3</vt:lpstr>
      <vt:lpstr>Dataflow Approach     Page 4</vt:lpstr>
      <vt:lpstr>Dataflow Approach     Page 5</vt:lpstr>
      <vt:lpstr>Dataflow Approach     Page 6</vt:lpstr>
      <vt:lpstr>Thank You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Filippone, Alberto</dc:creator>
  <cp:lastModifiedBy>Padayachi, Prabhu</cp:lastModifiedBy>
  <cp:revision>85</cp:revision>
  <dcterms:created xsi:type="dcterms:W3CDTF">2020-07-14T09:15:39Z</dcterms:created>
  <dcterms:modified xsi:type="dcterms:W3CDTF">2020-12-10T09:47:42Z</dcterms:modified>
</cp:coreProperties>
</file>